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Override3.xml" ContentType="application/vnd.openxmlformats-officedocument.themeOverride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handoutMasterIdLst>
    <p:handoutMasterId r:id="rId10"/>
  </p:handoutMasterIdLst>
  <p:sldIdLst>
    <p:sldId id="256" r:id="rId2"/>
    <p:sldId id="258" r:id="rId3"/>
    <p:sldId id="274" r:id="rId4"/>
    <p:sldId id="272" r:id="rId5"/>
    <p:sldId id="273" r:id="rId6"/>
    <p:sldId id="270" r:id="rId7"/>
    <p:sldId id="261" r:id="rId8"/>
  </p:sldIdLst>
  <p:sldSz cx="12192000" cy="6858000"/>
  <p:notesSz cx="6858000" cy="9144000"/>
  <p:custDataLst>
    <p:tags r:id="rId1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C57D"/>
    <a:srgbClr val="FCFCFC"/>
    <a:srgbClr val="555555"/>
    <a:srgbClr val="8EE476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10" autoAdjust="0"/>
    <p:restoredTop sz="96182" autoAdjust="0"/>
  </p:normalViewPr>
  <p:slideViewPr>
    <p:cSldViewPr snapToGrid="0">
      <p:cViewPr varScale="1">
        <p:scale>
          <a:sx n="114" d="100"/>
          <a:sy n="114" d="100"/>
        </p:scale>
        <p:origin x="736" y="17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8/1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8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ṣḻiḑê">
            <a:extLst>
              <a:ext uri="{FF2B5EF4-FFF2-40B4-BE49-F238E27FC236}">
                <a16:creationId xmlns:a16="http://schemas.microsoft.com/office/drawing/2014/main" id="{4A4D26DA-94FB-4C74-B9BF-F75FC25435C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50000"/>
            </a:blip>
            <a:srcRect/>
            <a:stretch>
              <a:fillRect l="-5" t="-19895" r="-17994" b="-19895"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íṥḻîḋè">
            <a:extLst>
              <a:ext uri="{FF2B5EF4-FFF2-40B4-BE49-F238E27FC236}">
                <a16:creationId xmlns:a16="http://schemas.microsoft.com/office/drawing/2014/main" id="{D924F78C-FBC3-408E-83EE-22778D54CEF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91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3730477"/>
            <a:ext cx="10845800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876975"/>
            <a:ext cx="10845800" cy="1853502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277367"/>
            <a:ext cx="1084580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573638"/>
            <a:ext cx="10845800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Sľíde">
            <a:extLst>
              <a:ext uri="{FF2B5EF4-FFF2-40B4-BE49-F238E27FC236}">
                <a16:creationId xmlns:a16="http://schemas.microsoft.com/office/drawing/2014/main" id="{C9A257E7-2E4D-4AE0-BBCB-7F0DD69610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10000"/>
            </a:blip>
            <a:srcRect/>
            <a:stretch>
              <a:fillRect l="-5" t="-19895" r="-17994" b="-19895"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247698" y="253365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248814" y="342900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ṩliďè">
            <a:extLst>
              <a:ext uri="{FF2B5EF4-FFF2-40B4-BE49-F238E27FC236}">
                <a16:creationId xmlns:a16="http://schemas.microsoft.com/office/drawing/2014/main" id="{3C4649D3-E3CF-47C5-8C21-917B4A84168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 dpi="0" rotWithShape="1">
            <a:blip r:embed="rId2">
              <a:alphaModFix amt="50000"/>
            </a:blip>
            <a:srcRect/>
            <a:stretch>
              <a:fillRect l="-5" t="-19895" r="-17994" b="-19895"/>
            </a:stretch>
          </a:blipFill>
          <a:ln w="1270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íṣļîḍe">
            <a:extLst>
              <a:ext uri="{FF2B5EF4-FFF2-40B4-BE49-F238E27FC236}">
                <a16:creationId xmlns:a16="http://schemas.microsoft.com/office/drawing/2014/main" id="{680AC2D6-AF3C-41A0-8138-D8985FC1CE3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91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638301"/>
            <a:ext cx="10845798" cy="2172372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44897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152703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iṣļï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ṡľïḋ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1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ïṡľïḋ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ŝḷïḍe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Sļíḍê"/>
          <p:cNvSpPr>
            <a:spLocks noGrp="1"/>
          </p:cNvSpPr>
          <p:nvPr>
            <p:ph type="subTitle" idx="1"/>
          </p:nvPr>
        </p:nvSpPr>
        <p:spPr>
          <a:xfrm>
            <a:off x="779117" y="4525607"/>
            <a:ext cx="10845800" cy="558799"/>
          </a:xfrm>
        </p:spPr>
        <p:txBody>
          <a:bodyPr>
            <a:normAutofit/>
          </a:bodyPr>
          <a:lstStyle/>
          <a:p>
            <a:r>
              <a:rPr lang="zh-TW" altLang="en-US" sz="2000" b="1" spc="300" dirty="0">
                <a:solidFill>
                  <a:schemeClr val="bg1">
                    <a:alpha val="8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參賽提案簡報</a:t>
            </a:r>
            <a:endParaRPr lang="en-US" altLang="zh-CN" sz="2000" b="1" spc="300" dirty="0">
              <a:solidFill>
                <a:schemeClr val="bg1">
                  <a:alpha val="8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i$ḷîḑê"/>
          <p:cNvSpPr>
            <a:spLocks noGrp="1"/>
          </p:cNvSpPr>
          <p:nvPr>
            <p:ph type="ctrTitle"/>
          </p:nvPr>
        </p:nvSpPr>
        <p:spPr>
          <a:xfrm>
            <a:off x="779117" y="2672105"/>
            <a:ext cx="10845800" cy="1853502"/>
          </a:xfrm>
          <a:noFill/>
        </p:spPr>
        <p:txBody>
          <a:bodyPr>
            <a:normAutofit fontScale="90000"/>
          </a:bodyPr>
          <a:lstStyle/>
          <a:p>
            <a:r>
              <a:rPr lang="zh-TW" altLang="en-US" sz="4900" dirty="0"/>
              <a:t>數據創新松</a:t>
            </a:r>
            <a:br>
              <a:rPr lang="en-US" altLang="zh-TW" sz="3600" dirty="0"/>
            </a:br>
            <a:r>
              <a:rPr lang="zh-TW" altLang="en-US" sz="3600" dirty="0"/>
              <a:t>民生消費數據疊合應用</a:t>
            </a:r>
            <a:br>
              <a:rPr lang="en-US" altLang="zh-TW" sz="36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br>
              <a:rPr lang="en-US" altLang="zh-TW" sz="36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en-US" altLang="zh-TW" sz="4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4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請填團隊名</a:t>
            </a:r>
            <a:r>
              <a:rPr lang="en-US" altLang="zh-TW" sz="4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endParaRPr lang="zh-CN" altLang="en-US" sz="32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îṥ1íd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819750" y="3404181"/>
            <a:ext cx="10572149" cy="2955957"/>
          </a:xfrm>
          <a:prstGeom prst="rect">
            <a:avLst/>
          </a:prstGeom>
          <a:solidFill>
            <a:schemeClr val="bg1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5" name="iṥľídê"/>
          <p:cNvSpPr>
            <a:spLocks noGrp="1"/>
          </p:cNvSpPr>
          <p:nvPr>
            <p:ph type="title"/>
          </p:nvPr>
        </p:nvSpPr>
        <p:spPr>
          <a:xfrm>
            <a:off x="2301159" y="1532853"/>
            <a:ext cx="5419185" cy="895350"/>
          </a:xfrm>
        </p:spPr>
        <p:txBody>
          <a:bodyPr>
            <a:normAutofit/>
          </a:bodyPr>
          <a:lstStyle/>
          <a:p>
            <a:r>
              <a:rPr lang="zh-TW" altLang="en-US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團隊名稱：</a:t>
            </a:r>
            <a:br>
              <a:rPr lang="en-US" altLang="zh-TW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作品名稱：</a:t>
            </a:r>
            <a:endParaRPr lang="zh-CN" altLang="en-US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6" name="íṥļïḓe"/>
          <p:cNvSpPr>
            <a:spLocks noGrp="1"/>
          </p:cNvSpPr>
          <p:nvPr>
            <p:ph type="body" idx="1"/>
          </p:nvPr>
        </p:nvSpPr>
        <p:spPr>
          <a:xfrm>
            <a:off x="4663938" y="2805341"/>
            <a:ext cx="2722293" cy="874277"/>
          </a:xfrm>
        </p:spPr>
        <p:txBody>
          <a:bodyPr>
            <a:noAutofit/>
          </a:bodyPr>
          <a:lstStyle/>
          <a:p>
            <a:pPr lvl="0" algn="dist"/>
            <a:r>
              <a:rPr lang="zh-TW" altLang="en-US" sz="24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創作理念</a:t>
            </a:r>
            <a:endParaRPr lang="en-US" altLang="zh-TW" sz="24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0"/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0"/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0"/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1" name="內容版面配置區 2"/>
          <p:cNvSpPr txBox="1">
            <a:spLocks/>
          </p:cNvSpPr>
          <p:nvPr/>
        </p:nvSpPr>
        <p:spPr>
          <a:xfrm>
            <a:off x="838201" y="3532784"/>
            <a:ext cx="10433050" cy="1349375"/>
          </a:xfrm>
          <a:prstGeom prst="rect">
            <a:avLst/>
          </a:prstGeom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TW" sz="1800" dirty="0">
                <a:solidFill>
                  <a:schemeClr val="bg1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sz="1800" dirty="0">
                <a:solidFill>
                  <a:schemeClr val="bg1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提出欲探討或解決的問題</a:t>
            </a:r>
            <a:r>
              <a:rPr lang="en-US" altLang="zh-TW" sz="1800" dirty="0">
                <a:solidFill>
                  <a:schemeClr val="bg1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stretch>
            <a:fillRect/>
          </a:stretch>
        </a:blipFill>
        <a:effectLst/>
      </p:bgPr>
    </p:bg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預期使用數據</a:t>
            </a:r>
            <a:endParaRPr lang="zh-CN" altLang="en-US" b="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5" name="內容版面配置區 2"/>
          <p:cNvSpPr txBox="1">
            <a:spLocks/>
          </p:cNvSpPr>
          <p:nvPr/>
        </p:nvSpPr>
        <p:spPr>
          <a:xfrm>
            <a:off x="600131" y="1130300"/>
            <a:ext cx="10515600" cy="4939994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TW" altLang="en-US" dirty="0">
                <a:solidFill>
                  <a:schemeClr val="tx2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*必須使用</a:t>
            </a:r>
            <a:r>
              <a:rPr lang="zh-TW" altLang="en-US" u="sng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本活動提供之</a:t>
            </a:r>
            <a:r>
              <a:rPr lang="en-US" altLang="zh-TW" u="sng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</a:t>
            </a:r>
            <a:r>
              <a:rPr lang="zh-TW" altLang="en-US" u="sng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家以上企業資料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並說明使用之資料集和使用欄位</a:t>
            </a:r>
            <a:endParaRPr lang="en-US" altLang="zh-TW" dirty="0">
              <a:solidFill>
                <a:schemeClr val="accent3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indent="0">
              <a:buNone/>
            </a:pP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indent="0">
              <a:buNone/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企業資料</a:t>
            </a: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23" indent="0">
              <a:buNone/>
            </a:pP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□ </a:t>
            </a:r>
            <a:r>
              <a:rPr lang="en-US" altLang="zh-TW" dirty="0" err="1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AsiaYo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)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2…</a:t>
            </a:r>
          </a:p>
          <a:p>
            <a:pPr marL="23" indent="0">
              <a:buNone/>
            </a:pP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□ </a:t>
            </a:r>
            <a:r>
              <a:rPr lang="en-US" altLang="zh-TW" dirty="0" err="1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GoSky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AI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)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2…</a:t>
            </a:r>
          </a:p>
          <a:p>
            <a:pPr marL="23" indent="0">
              <a:buNone/>
            </a:pP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□所長茶葉蛋：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)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2…</a:t>
            </a:r>
          </a:p>
          <a:p>
            <a:pPr marL="23" indent="0">
              <a:buNone/>
            </a:pP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□凱鈿行動科技：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)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2…</a:t>
            </a:r>
          </a:p>
          <a:p>
            <a:pPr marL="23" indent="0">
              <a:buNone/>
            </a:pP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□</a:t>
            </a:r>
            <a:r>
              <a:rPr lang="zh-TW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晶英酒店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：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)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2…</a:t>
            </a:r>
          </a:p>
          <a:p>
            <a:pPr marL="23" indent="0">
              <a:buNone/>
            </a:pPr>
            <a:endParaRPr lang="en-US" altLang="zh-TW" dirty="0">
              <a:solidFill>
                <a:schemeClr val="accent3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indent="0">
              <a:buNone/>
            </a:pPr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Open Data</a:t>
            </a:r>
          </a:p>
          <a:p>
            <a:pPr marL="23" indent="0">
              <a:buNone/>
            </a:pP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□臺南市政府智慧發展中心：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)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2…</a:t>
            </a:r>
          </a:p>
          <a:p>
            <a:pPr marL="23" indent="0">
              <a:buNone/>
            </a:pP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□ 自備資料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請說明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：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)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(</a:t>
            </a:r>
            <a:r>
              <a:rPr lang="zh-TW" altLang="en-US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使用欄位</a:t>
            </a:r>
            <a:r>
              <a:rPr lang="en-US" altLang="zh-TW" dirty="0">
                <a:solidFill>
                  <a:schemeClr val="accent3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)2…</a:t>
            </a:r>
          </a:p>
          <a:p>
            <a:pPr marL="23" indent="0">
              <a:buFont typeface="Arial" panose="020B0604020202020204" pitchFamily="34" charset="0"/>
              <a:buNone/>
            </a:pP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457200" lvl="1" indent="0">
              <a:buFont typeface="Arial" panose="020B0604020202020204" pitchFamily="34" charset="0"/>
              <a:buNone/>
            </a:pPr>
            <a:endParaRPr lang="en-US" altLang="zh-TW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665929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提案構想</a:t>
            </a:r>
            <a:endParaRPr lang="zh-CN" altLang="en-US" b="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5" name="內容版面配置區 2"/>
          <p:cNvSpPr txBox="1">
            <a:spLocks/>
          </p:cNvSpPr>
          <p:nvPr/>
        </p:nvSpPr>
        <p:spPr>
          <a:xfrm>
            <a:off x="669924" y="1130300"/>
            <a:ext cx="10850563" cy="50069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zh-TW" dirty="0">
                <a:solidFill>
                  <a:schemeClr val="accent3"/>
                </a:solidFill>
              </a:rPr>
              <a:t>(</a:t>
            </a:r>
            <a:r>
              <a:rPr lang="zh-TW" altLang="en-US" dirty="0">
                <a:solidFill>
                  <a:schemeClr val="accent3"/>
                </a:solidFill>
              </a:rPr>
              <a:t>至少</a:t>
            </a:r>
            <a:r>
              <a:rPr lang="en-US" altLang="zh-TW" dirty="0">
                <a:solidFill>
                  <a:schemeClr val="accent3"/>
                </a:solidFill>
              </a:rPr>
              <a:t>2</a:t>
            </a:r>
            <a:r>
              <a:rPr lang="zh-TW" altLang="en-US" dirty="0">
                <a:solidFill>
                  <a:schemeClr val="accent3"/>
                </a:solidFill>
              </a:rPr>
              <a:t>頁含圖</a:t>
            </a:r>
            <a:r>
              <a:rPr lang="en-US" altLang="zh-TW" dirty="0">
                <a:solidFill>
                  <a:schemeClr val="accent3"/>
                </a:solidFill>
              </a:rPr>
              <a:t>)</a:t>
            </a:r>
            <a:endParaRPr lang="zh-TW" altLang="en-US" dirty="0">
              <a:solidFill>
                <a:schemeClr val="accent3"/>
              </a:solidFill>
            </a:endParaRPr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77771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提案構想</a:t>
            </a:r>
            <a:endParaRPr lang="zh-CN" altLang="en-US" b="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sp>
        <p:nvSpPr>
          <p:cNvPr id="5" name="內容版面配置區 2"/>
          <p:cNvSpPr txBox="1">
            <a:spLocks/>
          </p:cNvSpPr>
          <p:nvPr/>
        </p:nvSpPr>
        <p:spPr>
          <a:xfrm>
            <a:off x="669924" y="1130300"/>
            <a:ext cx="10850563" cy="50069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zh-TW" dirty="0">
                <a:solidFill>
                  <a:schemeClr val="accent3"/>
                </a:solidFill>
              </a:rPr>
              <a:t>(</a:t>
            </a:r>
            <a:r>
              <a:rPr lang="zh-TW" altLang="en-US" dirty="0">
                <a:solidFill>
                  <a:schemeClr val="accent3"/>
                </a:solidFill>
              </a:rPr>
              <a:t>至少</a:t>
            </a:r>
            <a:r>
              <a:rPr lang="en-US" altLang="zh-TW" dirty="0">
                <a:solidFill>
                  <a:schemeClr val="accent3"/>
                </a:solidFill>
              </a:rPr>
              <a:t>2</a:t>
            </a:r>
            <a:r>
              <a:rPr lang="zh-TW" altLang="en-US" dirty="0">
                <a:solidFill>
                  <a:schemeClr val="accent3"/>
                </a:solidFill>
              </a:rPr>
              <a:t>頁含圖</a:t>
            </a:r>
            <a:r>
              <a:rPr lang="en-US" altLang="zh-TW" dirty="0">
                <a:solidFill>
                  <a:schemeClr val="accent3"/>
                </a:solidFill>
              </a:rPr>
              <a:t>)</a:t>
            </a:r>
            <a:endParaRPr lang="zh-TW" altLang="en-US" dirty="0">
              <a:solidFill>
                <a:schemeClr val="accent3"/>
              </a:solidFill>
            </a:endParaRPr>
          </a:p>
          <a:p>
            <a:endParaRPr lang="zh-TW" alt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71474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îṥľïḑè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şlíďé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 b="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團隊介紹</a:t>
            </a:r>
            <a:endParaRPr lang="zh-CN" altLang="en-US" b="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" name="ïṥ1ïḓe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/>
          </a:p>
        </p:txBody>
      </p:sp>
      <p:sp>
        <p:nvSpPr>
          <p:cNvPr id="5" name="內容版面配置區 2"/>
          <p:cNvSpPr txBox="1">
            <a:spLocks/>
          </p:cNvSpPr>
          <p:nvPr/>
        </p:nvSpPr>
        <p:spPr>
          <a:xfrm>
            <a:off x="838200" y="1391904"/>
            <a:ext cx="10850563" cy="13493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TW" altLang="en-US" sz="1800" dirty="0"/>
              <a:t>隊長</a:t>
            </a:r>
            <a:endParaRPr lang="en-US" altLang="zh-TW" sz="1800" dirty="0"/>
          </a:p>
          <a:p>
            <a:pPr lvl="1"/>
            <a:r>
              <a:rPr lang="zh-TW" altLang="en-US" sz="1600" dirty="0"/>
              <a:t>大名：</a:t>
            </a:r>
            <a:endParaRPr lang="en-US" altLang="zh-TW" sz="1600" dirty="0"/>
          </a:p>
          <a:p>
            <a:pPr lvl="1"/>
            <a:r>
              <a:rPr lang="zh-TW" altLang="en-US" sz="1600" dirty="0"/>
              <a:t>專長：</a:t>
            </a:r>
            <a:endParaRPr lang="en-US" altLang="zh-TW" sz="1600" dirty="0"/>
          </a:p>
          <a:p>
            <a:pPr lvl="1"/>
            <a:r>
              <a:rPr lang="zh-TW" altLang="en-US" sz="1600" dirty="0"/>
              <a:t>團隊角色：</a:t>
            </a:r>
            <a:endParaRPr lang="en-US" altLang="zh-TW" sz="1600" dirty="0"/>
          </a:p>
          <a:p>
            <a:pPr marL="0" indent="0">
              <a:buNone/>
            </a:pPr>
            <a:endParaRPr lang="zh-TW" altLang="en-US" sz="1600" dirty="0"/>
          </a:p>
        </p:txBody>
      </p:sp>
      <p:sp>
        <p:nvSpPr>
          <p:cNvPr id="6" name="矩形 5"/>
          <p:cNvSpPr/>
          <p:nvPr/>
        </p:nvSpPr>
        <p:spPr>
          <a:xfrm>
            <a:off x="838200" y="3833477"/>
            <a:ext cx="5095877" cy="181588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大名：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專長：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團隊角色：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大名：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專長：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團隊角色：</a:t>
            </a:r>
            <a:endParaRPr lang="en-US" altLang="zh-TW" sz="1600" dirty="0"/>
          </a:p>
        </p:txBody>
      </p:sp>
      <p:sp>
        <p:nvSpPr>
          <p:cNvPr id="7" name="矩形 6"/>
          <p:cNvSpPr/>
          <p:nvPr/>
        </p:nvSpPr>
        <p:spPr>
          <a:xfrm>
            <a:off x="6310314" y="3823824"/>
            <a:ext cx="5378449" cy="181588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大名：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專長：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團隊角色：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大名：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專長：</a:t>
            </a:r>
            <a:endParaRPr lang="en-US" altLang="zh-TW" sz="16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TW" altLang="en-US" sz="1600" dirty="0"/>
              <a:t>團隊角色：</a:t>
            </a:r>
            <a:endParaRPr lang="en-US" altLang="zh-TW" sz="1600" dirty="0"/>
          </a:p>
        </p:txBody>
      </p:sp>
      <p:sp>
        <p:nvSpPr>
          <p:cNvPr id="8" name="矩形 7"/>
          <p:cNvSpPr/>
          <p:nvPr/>
        </p:nvSpPr>
        <p:spPr>
          <a:xfrm>
            <a:off x="838200" y="3341243"/>
            <a:ext cx="6463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>
                <a:solidFill>
                  <a:schemeClr val="bg1"/>
                </a:solidFill>
              </a:rPr>
              <a:t>成員</a:t>
            </a:r>
            <a:endParaRPr lang="en-US" altLang="zh-TW" dirty="0">
              <a:solidFill>
                <a:schemeClr val="bg1"/>
              </a:solidFill>
            </a:endParaRPr>
          </a:p>
        </p:txBody>
      </p:sp>
      <p:cxnSp>
        <p:nvCxnSpPr>
          <p:cNvPr id="9" name="直線接點 8"/>
          <p:cNvCxnSpPr/>
          <p:nvPr/>
        </p:nvCxnSpPr>
        <p:spPr>
          <a:xfrm>
            <a:off x="708291" y="3120413"/>
            <a:ext cx="107754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0010948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iṣli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ṡḷíďé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5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iṡḷíď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š1íd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ṥ1íḋe"/>
          <p:cNvSpPr>
            <a:spLocks noGrp="1"/>
          </p:cNvSpPr>
          <p:nvPr>
            <p:ph type="ctrTitle"/>
          </p:nvPr>
        </p:nvSpPr>
        <p:spPr>
          <a:xfrm>
            <a:off x="673101" y="2115379"/>
            <a:ext cx="10845798" cy="2172372"/>
          </a:xfrm>
        </p:spPr>
        <p:txBody>
          <a:bodyPr/>
          <a:lstStyle/>
          <a:p>
            <a:r>
              <a:rPr lang="en-US" altLang="zh-CN" sz="7200" dirty="0"/>
              <a:t>Thanks</a:t>
            </a:r>
            <a:br>
              <a:rPr lang="en-US" altLang="zh-CN" dirty="0"/>
            </a:br>
            <a:r>
              <a:rPr lang="en-US" altLang="zh-TW" dirty="0">
                <a:solidFill>
                  <a:schemeClr val="bg1">
                    <a:alpha val="80000"/>
                  </a:schemeClr>
                </a:solidFill>
              </a:rPr>
              <a:t>Happy Hacking</a:t>
            </a:r>
            <a:endParaRPr lang="zh-CN" altLang="en-US" dirty="0">
              <a:solidFill>
                <a:schemeClr val="bg1">
                  <a:alpha val="80000"/>
                </a:schemeClr>
              </a:solidFill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29622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11C57D"/>
      </a:accent1>
      <a:accent2>
        <a:srgbClr val="3B9AEA"/>
      </a:accent2>
      <a:accent3>
        <a:srgbClr val="61615E"/>
      </a:accent3>
      <a:accent4>
        <a:srgbClr val="7B7B79"/>
      </a:accent4>
      <a:accent5>
        <a:srgbClr val="9E9E9C"/>
      </a:accent5>
      <a:accent6>
        <a:srgbClr val="CACAC8"/>
      </a:accent6>
      <a:hlink>
        <a:srgbClr val="046DA3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1C57D"/>
    </a:accent1>
    <a:accent2>
      <a:srgbClr val="3B9AEA"/>
    </a:accent2>
    <a:accent3>
      <a:srgbClr val="61615E"/>
    </a:accent3>
    <a:accent4>
      <a:srgbClr val="7B7B79"/>
    </a:accent4>
    <a:accent5>
      <a:srgbClr val="9E9E9C"/>
    </a:accent5>
    <a:accent6>
      <a:srgbClr val="CACAC8"/>
    </a:accent6>
    <a:hlink>
      <a:srgbClr val="046DA3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1C57D"/>
    </a:accent1>
    <a:accent2>
      <a:srgbClr val="3B9AEA"/>
    </a:accent2>
    <a:accent3>
      <a:srgbClr val="61615E"/>
    </a:accent3>
    <a:accent4>
      <a:srgbClr val="7B7B79"/>
    </a:accent4>
    <a:accent5>
      <a:srgbClr val="9E9E9C"/>
    </a:accent5>
    <a:accent6>
      <a:srgbClr val="CACAC8"/>
    </a:accent6>
    <a:hlink>
      <a:srgbClr val="046DA3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11C57D"/>
    </a:accent1>
    <a:accent2>
      <a:srgbClr val="3B9AEA"/>
    </a:accent2>
    <a:accent3>
      <a:srgbClr val="61615E"/>
    </a:accent3>
    <a:accent4>
      <a:srgbClr val="7B7B79"/>
    </a:accent4>
    <a:accent5>
      <a:srgbClr val="9E9E9C"/>
    </a:accent5>
    <a:accent6>
      <a:srgbClr val="CACAC8"/>
    </a:accent6>
    <a:hlink>
      <a:srgbClr val="046DA3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04</TotalTime>
  <Words>255</Words>
  <Application>Microsoft Macintosh PowerPoint</Application>
  <PresentationFormat>寬螢幕</PresentationFormat>
  <Paragraphs>48</Paragraphs>
  <Slides>7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4</vt:i4>
      </vt:variant>
      <vt:variant>
        <vt:lpstr>佈景主題</vt:lpstr>
      </vt:variant>
      <vt:variant>
        <vt:i4>1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7</vt:i4>
      </vt:variant>
    </vt:vector>
  </HeadingPairs>
  <TitlesOfParts>
    <vt:vector size="13" baseType="lpstr">
      <vt:lpstr>微軟正黑體</vt:lpstr>
      <vt:lpstr>等线</vt:lpstr>
      <vt:lpstr>Arial</vt:lpstr>
      <vt:lpstr>Calibri</vt:lpstr>
      <vt:lpstr>主题5</vt:lpstr>
      <vt:lpstr>think-cell Slide</vt:lpstr>
      <vt:lpstr>數據創新松 民生消費數據疊合應用  (請填團隊名)</vt:lpstr>
      <vt:lpstr>團隊名稱： 作品名稱：</vt:lpstr>
      <vt:lpstr>預期使用數據</vt:lpstr>
      <vt:lpstr>提案構想</vt:lpstr>
      <vt:lpstr>提案構想</vt:lpstr>
      <vt:lpstr>團隊介紹</vt:lpstr>
      <vt:lpstr>Thanks Happy Hacking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無名 無心</cp:lastModifiedBy>
  <cp:revision>46</cp:revision>
  <cp:lastPrinted>2019-07-31T16:00:00Z</cp:lastPrinted>
  <dcterms:created xsi:type="dcterms:W3CDTF">2019-07-31T16:00:00Z</dcterms:created>
  <dcterms:modified xsi:type="dcterms:W3CDTF">2021-08-16T03:0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